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47"/>
    <p:restoredTop sz="95788"/>
  </p:normalViewPr>
  <p:slideViewPr>
    <p:cSldViewPr snapToGrid="0">
      <p:cViewPr varScale="1">
        <p:scale>
          <a:sx n="137" d="100"/>
          <a:sy n="137" d="100"/>
        </p:scale>
        <p:origin x="208" y="320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18. Dez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46550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ric Meier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530978"/>
              </p:ext>
            </p:extLst>
          </p:nvPr>
        </p:nvGraphicFramePr>
        <p:xfrm>
          <a:off x="477715" y="1273810"/>
          <a:ext cx="8191500" cy="3417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328940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3-4, Erklärungen am Anfang wären hilfrei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4-5, Computerfremde Personen finden sich auch zu rech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 zu bedienen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ind hilfreich, 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Persönliche Gefühl ist nicht inkludiert, Icons sind gut gewählt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cons helfen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Gut zu verstehen einfach, 4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m </a:t>
                      </a:r>
                      <a:r>
                        <a:rPr lang="de-DE" sz="1200" dirty="0" err="1"/>
                        <a:t>grossen</a:t>
                      </a:r>
                      <a:r>
                        <a:rPr lang="de-DE" sz="1200" dirty="0"/>
                        <a:t> und ganzen nützlich, man muss es auf den Betrieb anpassen, 3-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Gut verwendbar bei einem </a:t>
                      </a:r>
                      <a:r>
                        <a:rPr lang="de-DE" sz="1200" dirty="0" err="1"/>
                        <a:t>grossen</a:t>
                      </a:r>
                      <a:r>
                        <a:rPr lang="de-DE" sz="1200" dirty="0"/>
                        <a:t> Teil der Aufgaben, 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929329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wiefern können Sie 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rste Einarbeitung etwas schwierig, eine kleine Einführung wäre hilfreich,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step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by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step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Einführ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Menü in der Wochenübersicht aufsummieren, Gesamtsumm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ahlen bei den Graphiken und Vorhersagewert in den Graphiken integriert um einen Vergleich zu hab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645</Words>
  <Application>Microsoft Macintosh PowerPoint</Application>
  <PresentationFormat>Bildschirmpräsentation (16:9)</PresentationFormat>
  <Paragraphs>129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5</cp:revision>
  <cp:lastPrinted>2020-03-29T12:41:23Z</cp:lastPrinted>
  <dcterms:created xsi:type="dcterms:W3CDTF">2019-10-08T08:06:46Z</dcterms:created>
  <dcterms:modified xsi:type="dcterms:W3CDTF">2021-01-12T14:1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